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0" dt="2025-07-04T12:10:23.9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25" d="100"/>
          <a:sy n="25" d="100"/>
        </p:scale>
        <p:origin x="1474" y="-26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2:14:56.378" v="4414" actId="1076"/>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2:14:56.378" v="4414" actId="1076"/>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2:11:53.989" v="4380"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2:12:00.166" v="4381" actId="1076"/>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3T14:16:27.570" v="3691" actId="113"/>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mod">
          <ac:chgData name="Cihan Zeyrek" userId="dd9724baaf2e43d1" providerId="LiveId" clId="{E5A86D5C-552E-4995-AB32-5E49D96B1D3A}" dt="2025-07-03T14:10:34.175" v="3535" actId="1076"/>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4.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4.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4.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4.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4.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9.emf"/><Relationship Id="rId17" Type="http://schemas.openxmlformats.org/officeDocument/2006/relationships/image" Target="../media/image11.png"/><Relationship Id="rId2" Type="http://schemas.openxmlformats.org/officeDocument/2006/relationships/slideLayout" Target="../slideLayouts/slideLayout1.xml"/><Relationship Id="rId16" Type="http://schemas.openxmlformats.org/officeDocument/2006/relationships/chart" Target="../charts/chart1.xml"/><Relationship Id="rId20"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3.jp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png"/><Relationship Id="rId19" Type="http://schemas.openxmlformats.org/officeDocument/2006/relationships/image" Target="../media/image14.png"/><Relationship Id="rId4" Type="http://schemas.openxmlformats.org/officeDocument/2006/relationships/oleObject" Target="../embeddings/oleObject2.bin"/><Relationship Id="rId9"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15286763" y="25651859"/>
            <a:ext cx="14528007" cy="1264554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563913" y="28191603"/>
            <a:ext cx="14217724"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64119" y="3807041"/>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6929493" y="31010872"/>
            <a:ext cx="6449752" cy="4364752"/>
          </a:xfrm>
          <a:prstGeom prst="rect">
            <a:avLst/>
          </a:prstGeom>
        </p:spPr>
      </p:pic>
      <p:sp>
        <p:nvSpPr>
          <p:cNvPr id="2" name="Abgerundetes Rechteck 1">
            <a:extLst>
              <a:ext uri="{FF2B5EF4-FFF2-40B4-BE49-F238E27FC236}">
                <a16:creationId xmlns:a16="http://schemas.microsoft.com/office/drawing/2014/main" id="{49A02D2B-FEBA-8240-4F80-1023D79A7ABD}"/>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43140" y="25426971"/>
            <a:ext cx="3325770" cy="2301759"/>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2279" y="22355196"/>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2"/>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noProof="0" dirty="0"/>
                <a:t>Identified </a:t>
              </a:r>
            </a:p>
            <a:p>
              <a:pPr algn="ctr"/>
              <a:r>
                <a:rPr lang="en-US" sz="2400" noProof="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noProof="0" dirty="0" err="1"/>
                <a:t>Analysed</a:t>
              </a:r>
              <a:r>
                <a:rPr lang="en-US" sz="2400" noProof="0" dirty="0"/>
                <a:t> </a:t>
              </a:r>
            </a:p>
            <a:p>
              <a:pPr algn="ctr"/>
              <a:r>
                <a:rPr lang="en-US" sz="2400" noProof="0" dirty="0" err="1"/>
                <a:t>UniProt</a:t>
              </a:r>
              <a:r>
                <a:rPr lang="en-US" sz="2400" noProof="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02825" y="13825667"/>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882079" y="16846665"/>
            <a:ext cx="13908659" cy="1938992"/>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a:t>
            </a:r>
          </a:p>
          <a:p>
            <a:pPr algn="just"/>
            <a:r>
              <a:rPr lang="en-US" sz="2400" noProof="0" dirty="0">
                <a:latin typeface="Source Sans Pro" panose="020B0503030403020204" pitchFamily="34" charset="0"/>
                <a:ea typeface="Source Sans Pro" panose="020B0503030403020204" pitchFamily="34" charset="0"/>
              </a:rPr>
              <a:t>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a:t>
            </a:r>
          </a:p>
          <a:p>
            <a:pPr algn="just"/>
            <a:r>
              <a:rPr lang="en-US" sz="2400" noProof="0" dirty="0">
                <a:latin typeface="Source Sans Pro" panose="020B0503030403020204" pitchFamily="34" charset="0"/>
                <a:ea typeface="Source Sans Pro" panose="020B0503030403020204" pitchFamily="34" charset="0"/>
              </a:rPr>
              <a:t>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3"/>
          <a:stretch>
            <a:fillRect/>
          </a:stretch>
        </p:blipFill>
        <p:spPr>
          <a:xfrm>
            <a:off x="8502076" y="13319527"/>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4765060" y="18464738"/>
            <a:ext cx="4328867" cy="860116"/>
            <a:chOff x="9061760" y="14098081"/>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C8697122-1F57-2A95-C751-74F7E5823F08}"/>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5"/>
                  <a:stretch>
                    <a:fillRect/>
                  </a:stretch>
                </a:blipFill>
              </p:spPr>
              <p:txBody>
                <a:bodyPr/>
                <a:lstStyle/>
                <a:p>
                  <a:r>
                    <a:rPr lang="de-DE">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930634812"/>
              </p:ext>
            </p:extLst>
          </p:nvPr>
        </p:nvGraphicFramePr>
        <p:xfrm>
          <a:off x="10284771" y="18443121"/>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98676" y="19136735"/>
            <a:ext cx="9214407" cy="363176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shift  </a:t>
            </a:r>
            <a:r>
              <a:rPr lang="en-US" sz="2400" noProof="0" dirty="0">
                <a:latin typeface="Source Sans Pro" panose="020B0503030403020204" pitchFamily="34" charset="0"/>
                <a:ea typeface="Source Sans Pro" panose="020B0503030403020204" pitchFamily="34" charset="0"/>
              </a:rPr>
              <a:t>and where classified as RBPs. </a:t>
            </a:r>
          </a:p>
          <a:p>
            <a:pPr algn="just"/>
            <a:endParaRPr lang="en-US" sz="2400" noProof="0" dirty="0">
              <a:latin typeface="Source Sans Pro" panose="020B0503030403020204" pitchFamily="34" charset="0"/>
              <a:ea typeface="Source Sans Pro" panose="020B0503030403020204" pitchFamily="34" charset="0"/>
            </a:endParaRPr>
          </a:p>
          <a:p>
            <a:endParaRPr lang="en-US" noProof="0"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5042" y="21096358"/>
            <a:ext cx="448832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51" name="Textfeld 50">
            <a:extLst>
              <a:ext uri="{FF2B5EF4-FFF2-40B4-BE49-F238E27FC236}">
                <a16:creationId xmlns:a16="http://schemas.microsoft.com/office/drawing/2014/main" id="{1EFE5839-827F-4EE7-93B1-21F410F3AF68}"/>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pic>
        <p:nvPicPr>
          <p:cNvPr id="53" name="Grafik 52" descr="Ein Bild, das Text, Screenshot, Farbigkeit, Reihe enthält.&#10;&#10;KI-generierte Inhalte können fehlerhaft sein.">
            <a:extLst>
              <a:ext uri="{FF2B5EF4-FFF2-40B4-BE49-F238E27FC236}">
                <a16:creationId xmlns:a16="http://schemas.microsoft.com/office/drawing/2014/main" id="{BAAF9A28-A00D-D8F6-8487-F57CBEA64C0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11060" y="7217510"/>
            <a:ext cx="7082565" cy="4721710"/>
          </a:xfrm>
          <a:prstGeom prst="rect">
            <a:avLst/>
          </a:prstGeom>
        </p:spPr>
      </p:pic>
      <p:sp>
        <p:nvSpPr>
          <p:cNvPr id="56" name="Textfeld 55">
            <a:extLst>
              <a:ext uri="{FF2B5EF4-FFF2-40B4-BE49-F238E27FC236}">
                <a16:creationId xmlns:a16="http://schemas.microsoft.com/office/drawing/2014/main" id="{7866C7D8-BD84-2809-E6DA-3A7BCF109C79}"/>
              </a:ext>
            </a:extLst>
          </p:cNvPr>
          <p:cNvSpPr txBox="1"/>
          <p:nvPr/>
        </p:nvSpPr>
        <p:spPr>
          <a:xfrm>
            <a:off x="7278015" y="11954804"/>
            <a:ext cx="711561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2656645" y="26246968"/>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15709390" y="32900676"/>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5857545" y="32949588"/>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15360712" y="26807152"/>
            <a:ext cx="7670217" cy="5909310"/>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20715243" y="32092643"/>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a:t>
            </a:r>
          </a:p>
          <a:p>
            <a:pPr algn="just"/>
            <a:r>
              <a:rPr lang="en-US" sz="2400" noProof="0" dirty="0">
                <a:latin typeface="Source Sans Pro" panose="020B0503030403020204" pitchFamily="34" charset="0"/>
                <a:ea typeface="Source Sans Pro" panose="020B0503030403020204" pitchFamily="34" charset="0"/>
              </a:rPr>
              <a:t>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633676" y="17652922"/>
            <a:ext cx="6501830" cy="6370975"/>
          </a:xfrm>
          <a:prstGeom prst="rect">
            <a:avLst/>
          </a:prstGeom>
          <a:noFill/>
        </p:spPr>
        <p:txBody>
          <a:bodyPr wrap="square" rtlCol="0">
            <a:spAutoFit/>
          </a:bodyPr>
          <a:lstStyle/>
          <a:p>
            <a:r>
              <a:rPr lang="de-DE" sz="2400" b="1" dirty="0" err="1"/>
              <a:t>Comparative</a:t>
            </a:r>
            <a:r>
              <a:rPr lang="de-DE" sz="2400" b="1" dirty="0"/>
              <a:t> Shift Analysis</a:t>
            </a:r>
            <a:endParaRPr lang="en-US" sz="2400" b="1" dirty="0"/>
          </a:p>
          <a:p>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r>
              <a:rPr lang="en-US" sz="2400" dirty="0"/>
              <a:t>This scatterplot visualizes the resulting shift distances for each protein, comparing mitotic and non-synchronized conditions. Each point represents a protein and reflects its condition-specific RNA dependence. </a:t>
            </a:r>
          </a:p>
          <a:p>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95757" y="23876888"/>
            <a:ext cx="13817660" cy="1477328"/>
          </a:xfrm>
          <a:prstGeom prst="rect">
            <a:avLst/>
          </a:prstGeom>
          <a:noFill/>
        </p:spPr>
        <p:txBody>
          <a:bodyPr wrap="square" rtlCol="0">
            <a:spAutoFit/>
          </a:bodyPr>
          <a:lstStyle/>
          <a:p>
            <a:r>
              <a:rPr lang="en-US" sz="2400" dirty="0"/>
              <a:t>The red dashed identity line marks equal shifts across both cell states. Proteins falling below this line such as </a:t>
            </a:r>
            <a:r>
              <a:rPr lang="en-US" sz="2400" b="1" dirty="0" err="1"/>
              <a:t>RiboSix</a:t>
            </a:r>
            <a:r>
              <a:rPr lang="en-US" sz="2400" dirty="0"/>
              <a:t> show stronger RNA dependency during mitosis, suggesting their role is tightly linked to this specific cellular phase. Indeed, mitosis appears to be the active season for our little RBP hero.</a:t>
            </a:r>
          </a:p>
          <a:p>
            <a:endParaRPr lang="en-US" dirty="0"/>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066</Words>
  <Application>Microsoft Office PowerPoint</Application>
  <PresentationFormat>Benutzerdefiniert</PresentationFormat>
  <Paragraphs>80</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ptos Display</vt:lpstr>
      <vt:lpstr>Arial</vt:lpstr>
      <vt:lpstr>Cambria Math</vt:lpstr>
      <vt:lpstr>Source Sans Pro</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7</cp:revision>
  <dcterms:created xsi:type="dcterms:W3CDTF">2025-06-30T15:36:19Z</dcterms:created>
  <dcterms:modified xsi:type="dcterms:W3CDTF">2025-07-04T12:14:56Z</dcterms:modified>
</cp:coreProperties>
</file>